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10693400" cy="7556500"/>
  <p:notesSz cx="6858000" cy="9144000"/>
  <p:embeddedFontLst>
    <p:embeddedFont>
      <p:font typeface="League Spartan" pitchFamily="2" charset="0"/>
      <p:regular r:id="rId3"/>
      <p:bold r:id="rId4"/>
    </p:embeddedFont>
    <p:embeddedFont>
      <p:font typeface="Poppins" panose="00000500000000000000" pitchFamily="2" charset="0"/>
      <p:regular r:id="rId5"/>
      <p:bold r:id="rId6"/>
      <p:italic r:id="rId7"/>
      <p:boldItalic r:id="rId8"/>
    </p:embeddedFont>
    <p:embeddedFont>
      <p:font typeface="Poppins Light" panose="00000400000000000000" pitchFamily="2" charset="0"/>
      <p:regular r:id="rId9"/>
      <p:italic r:id="rId10"/>
    </p:embeddedFont>
    <p:embeddedFont>
      <p:font typeface="Poppins SemiBold" panose="00000700000000000000" pitchFamily="2" charset="0"/>
      <p:bold r:id="rId11"/>
      <p:bold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3F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774" y="5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heme" Target="theme/theme1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A36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Club #2">
            <a:extLst>
              <a:ext uri="{FF2B5EF4-FFF2-40B4-BE49-F238E27FC236}">
                <a16:creationId xmlns:a16="http://schemas.microsoft.com/office/drawing/2014/main" id="{C31A9214-21BB-94A1-B0BB-52CB8C49E6C3}"/>
              </a:ext>
            </a:extLst>
          </p:cNvPr>
          <p:cNvGrpSpPr/>
          <p:nvPr/>
        </p:nvGrpSpPr>
        <p:grpSpPr>
          <a:xfrm>
            <a:off x="-2641" y="0"/>
            <a:ext cx="10698681" cy="7556500"/>
            <a:chOff x="-2641" y="0"/>
            <a:chExt cx="10698681" cy="755650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3CF771E-011C-10F0-9CDD-C71118E8D6C7}"/>
                </a:ext>
              </a:extLst>
            </p:cNvPr>
            <p:cNvGrpSpPr/>
            <p:nvPr/>
          </p:nvGrpSpPr>
          <p:grpSpPr>
            <a:xfrm>
              <a:off x="-2641" y="0"/>
              <a:ext cx="10698681" cy="7556500"/>
              <a:chOff x="-2641" y="0"/>
              <a:chExt cx="10698681" cy="7556500"/>
            </a:xfrm>
          </p:grpSpPr>
          <p:pic>
            <p:nvPicPr>
              <p:cNvPr id="3" name="Picture 3"/>
              <p:cNvPicPr>
                <a:picLocks noChangeAspect="1"/>
              </p:cNvPicPr>
              <p:nvPr/>
            </p:nvPicPr>
            <p:blipFill rotWithShape="1">
              <a:blip r:embed="rId3">
                <a:alphaModFix amt="50000"/>
              </a:blip>
              <a:srcRect l="2770" r="2770"/>
              <a:stretch/>
            </p:blipFill>
            <p:spPr>
              <a:xfrm>
                <a:off x="0" y="0"/>
                <a:ext cx="10693400" cy="7556500"/>
              </a:xfrm>
              <a:prstGeom prst="rect">
                <a:avLst/>
              </a:prstGeom>
            </p:spPr>
          </p:pic>
          <p:sp>
            <p:nvSpPr>
              <p:cNvPr id="6" name="Freeform 6"/>
              <p:cNvSpPr/>
              <p:nvPr/>
            </p:nvSpPr>
            <p:spPr>
              <a:xfrm>
                <a:off x="-2641" y="5822773"/>
                <a:ext cx="2140811" cy="1733727"/>
              </a:xfrm>
              <a:custGeom>
                <a:avLst/>
                <a:gdLst/>
                <a:ahLst/>
                <a:cxnLst/>
                <a:rect l="l" t="t" r="r" b="b"/>
                <a:pathLst>
                  <a:path w="4095759" h="4095759">
                    <a:moveTo>
                      <a:pt x="0" y="0"/>
                    </a:moveTo>
                    <a:lnTo>
                      <a:pt x="4095759" y="0"/>
                    </a:lnTo>
                    <a:lnTo>
                      <a:pt x="4095759" y="4095759"/>
                    </a:lnTo>
                    <a:lnTo>
                      <a:pt x="0" y="40957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5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l="-91318" b="-13624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8470561" y="5822773"/>
                <a:ext cx="2225479" cy="1733727"/>
              </a:xfrm>
              <a:custGeom>
                <a:avLst/>
                <a:gdLst/>
                <a:ahLst/>
                <a:cxnLst/>
                <a:rect l="l" t="t" r="r" b="b"/>
                <a:pathLst>
                  <a:path w="4095759" h="4095759">
                    <a:moveTo>
                      <a:pt x="0" y="0"/>
                    </a:moveTo>
                    <a:lnTo>
                      <a:pt x="4095759" y="0"/>
                    </a:lnTo>
                    <a:lnTo>
                      <a:pt x="4095759" y="4095759"/>
                    </a:lnTo>
                    <a:lnTo>
                      <a:pt x="0" y="40957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5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r="-84039" b="-13624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AutoShape 5"/>
              <p:cNvSpPr/>
              <p:nvPr/>
            </p:nvSpPr>
            <p:spPr>
              <a:xfrm rot="10800000">
                <a:off x="0" y="0"/>
                <a:ext cx="10693400" cy="4166579"/>
              </a:xfrm>
              <a:prstGeom prst="rect">
                <a:avLst/>
              </a:prstGeom>
              <a:gradFill rotWithShape="1">
                <a:gsLst>
                  <a:gs pos="0">
                    <a:srgbClr val="2A3652">
                      <a:alpha val="0"/>
                    </a:srgbClr>
                  </a:gs>
                  <a:gs pos="100000">
                    <a:srgbClr val="2A3652">
                      <a:alpha val="100000"/>
                    </a:srgbClr>
                  </a:gs>
                </a:gsLst>
                <a:lin ang="5400000"/>
              </a:grad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2C4CBD4-33F8-739D-ED87-C38291C107D1}"/>
                </a:ext>
              </a:extLst>
            </p:cNvPr>
            <p:cNvGrpSpPr/>
            <p:nvPr/>
          </p:nvGrpSpPr>
          <p:grpSpPr>
            <a:xfrm>
              <a:off x="650042" y="7027610"/>
              <a:ext cx="9370487" cy="138499"/>
              <a:chOff x="650042" y="7027610"/>
              <a:chExt cx="9370487" cy="138499"/>
            </a:xfrm>
          </p:grpSpPr>
          <p:sp>
            <p:nvSpPr>
              <p:cNvPr id="18" name="123 Anywhere St., Any City 12345"/>
              <p:cNvSpPr txBox="1"/>
              <p:nvPr/>
            </p:nvSpPr>
            <p:spPr>
              <a:xfrm>
                <a:off x="650042" y="7027610"/>
                <a:ext cx="2022728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900" dirty="0">
                    <a:solidFill>
                      <a:srgbClr val="FFFFFF"/>
                    </a:solidFill>
                    <a:latin typeface="Poppins"/>
                  </a:rPr>
                  <a:t> 123 Anywhere St., Any City 12345</a:t>
                </a:r>
              </a:p>
            </p:txBody>
          </p:sp>
          <p:sp>
            <p:nvSpPr>
              <p:cNvPr id="19" name="CLUB NAME"/>
              <p:cNvSpPr txBox="1"/>
              <p:nvPr/>
            </p:nvSpPr>
            <p:spPr>
              <a:xfrm>
                <a:off x="7997801" y="7027610"/>
                <a:ext cx="2022728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900" dirty="0">
                    <a:solidFill>
                      <a:srgbClr val="FFFFFF"/>
                    </a:solidFill>
                    <a:latin typeface="Poppins"/>
                  </a:rPr>
                  <a:t>CLUB NAME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98C6707-DF88-B180-9094-5FFFA3FF01A7}"/>
                </a:ext>
              </a:extLst>
            </p:cNvPr>
            <p:cNvGrpSpPr/>
            <p:nvPr/>
          </p:nvGrpSpPr>
          <p:grpSpPr>
            <a:xfrm>
              <a:off x="2193181" y="322633"/>
              <a:ext cx="6305639" cy="2673222"/>
              <a:chOff x="2193181" y="322633"/>
              <a:chExt cx="6305639" cy="2673222"/>
            </a:xfrm>
          </p:grpSpPr>
          <p:sp>
            <p:nvSpPr>
              <p:cNvPr id="8" name="Club"/>
              <p:cNvSpPr txBox="1"/>
              <p:nvPr/>
            </p:nvSpPr>
            <p:spPr>
              <a:xfrm>
                <a:off x="3352813" y="322633"/>
                <a:ext cx="3987774" cy="13542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800" b="1" dirty="0">
                    <a:solidFill>
                      <a:srgbClr val="AAE6B1"/>
                    </a:solidFill>
                    <a:latin typeface="League Spartan"/>
                  </a:rPr>
                  <a:t>CLUB</a:t>
                </a:r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3835400" y="346997"/>
                <a:ext cx="1599098" cy="637478"/>
              </a:xfrm>
              <a:custGeom>
                <a:avLst/>
                <a:gdLst/>
                <a:ahLst/>
                <a:cxnLst/>
                <a:rect l="l" t="t" r="r" b="b"/>
                <a:pathLst>
                  <a:path w="1599098" h="637478">
                    <a:moveTo>
                      <a:pt x="0" y="0"/>
                    </a:moveTo>
                    <a:lnTo>
                      <a:pt x="1599098" y="0"/>
                    </a:lnTo>
                    <a:lnTo>
                      <a:pt x="1599098" y="637479"/>
                    </a:lnTo>
                    <a:lnTo>
                      <a:pt x="0" y="63747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Club"/>
              <p:cNvSpPr txBox="1"/>
              <p:nvPr/>
            </p:nvSpPr>
            <p:spPr>
              <a:xfrm>
                <a:off x="3352113" y="1199122"/>
                <a:ext cx="3987774" cy="13542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800" b="1" dirty="0">
                    <a:solidFill>
                      <a:srgbClr val="AAE6B1">
                        <a:alpha val="49804"/>
                      </a:srgbClr>
                    </a:solidFill>
                    <a:latin typeface="League Spartan"/>
                  </a:rPr>
                  <a:t>CLUB</a:t>
                </a:r>
              </a:p>
            </p:txBody>
          </p:sp>
          <p:sp>
            <p:nvSpPr>
              <p:cNvPr id="11" name="Woman"/>
              <p:cNvSpPr/>
              <p:nvPr/>
            </p:nvSpPr>
            <p:spPr>
              <a:xfrm>
                <a:off x="3988391" y="882651"/>
                <a:ext cx="2806109" cy="2113204"/>
              </a:xfrm>
              <a:custGeom>
                <a:avLst/>
                <a:gdLst/>
                <a:ahLst/>
                <a:cxnLst/>
                <a:rect l="l" t="t" r="r" b="b"/>
                <a:pathLst>
                  <a:path w="3884266" h="2591129">
                    <a:moveTo>
                      <a:pt x="0" y="0"/>
                    </a:moveTo>
                    <a:lnTo>
                      <a:pt x="3884266" y="0"/>
                    </a:lnTo>
                    <a:lnTo>
                      <a:pt x="3884266" y="2591129"/>
                    </a:lnTo>
                    <a:lnTo>
                      <a:pt x="0" y="259112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 l="-20832" t="-22617" r="-17590" b="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3482122" y="1928481"/>
                <a:ext cx="1599098" cy="637478"/>
              </a:xfrm>
              <a:custGeom>
                <a:avLst/>
                <a:gdLst/>
                <a:ahLst/>
                <a:cxnLst/>
                <a:rect l="l" t="t" r="r" b="b"/>
                <a:pathLst>
                  <a:path w="1599098" h="637478">
                    <a:moveTo>
                      <a:pt x="0" y="0"/>
                    </a:moveTo>
                    <a:lnTo>
                      <a:pt x="1599099" y="0"/>
                    </a:lnTo>
                    <a:lnTo>
                      <a:pt x="1599099" y="637478"/>
                    </a:lnTo>
                    <a:lnTo>
                      <a:pt x="0" y="63747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alphaModFix amt="50000"/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5525312" y="1223486"/>
                <a:ext cx="1958870" cy="780901"/>
              </a:xfrm>
              <a:custGeom>
                <a:avLst/>
                <a:gdLst/>
                <a:ahLst/>
                <a:cxnLst/>
                <a:rect l="l" t="t" r="r" b="b"/>
                <a:pathLst>
                  <a:path w="1958870" h="780901">
                    <a:moveTo>
                      <a:pt x="0" y="0"/>
                    </a:moveTo>
                    <a:lnTo>
                      <a:pt x="1958870" y="0"/>
                    </a:lnTo>
                    <a:lnTo>
                      <a:pt x="1958870" y="780901"/>
                    </a:lnTo>
                    <a:lnTo>
                      <a:pt x="0" y="7809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alphaModFix amt="50000"/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 rot="-3085078">
                <a:off x="4853586" y="1222364"/>
                <a:ext cx="1599098" cy="637478"/>
              </a:xfrm>
              <a:custGeom>
                <a:avLst/>
                <a:gdLst/>
                <a:ahLst/>
                <a:cxnLst/>
                <a:rect l="l" t="t" r="r" b="b"/>
                <a:pathLst>
                  <a:path w="1599098" h="637478">
                    <a:moveTo>
                      <a:pt x="0" y="0"/>
                    </a:moveTo>
                    <a:lnTo>
                      <a:pt x="1599098" y="0"/>
                    </a:lnTo>
                    <a:lnTo>
                      <a:pt x="1599098" y="637479"/>
                    </a:lnTo>
                    <a:lnTo>
                      <a:pt x="0" y="63747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alphaModFix amt="80000"/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Freeform 15"/>
              <p:cNvSpPr/>
              <p:nvPr/>
            </p:nvSpPr>
            <p:spPr>
              <a:xfrm>
                <a:off x="5257103" y="843691"/>
                <a:ext cx="1958870" cy="780901"/>
              </a:xfrm>
              <a:custGeom>
                <a:avLst/>
                <a:gdLst/>
                <a:ahLst/>
                <a:cxnLst/>
                <a:rect l="l" t="t" r="r" b="b"/>
                <a:pathLst>
                  <a:path w="1958870" h="780901">
                    <a:moveTo>
                      <a:pt x="0" y="0"/>
                    </a:moveTo>
                    <a:lnTo>
                      <a:pt x="1958870" y="0"/>
                    </a:lnTo>
                    <a:lnTo>
                      <a:pt x="1958870" y="780901"/>
                    </a:lnTo>
                    <a:lnTo>
                      <a:pt x="0" y="7809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PER PERSON"/>
              <p:cNvSpPr txBox="1"/>
              <p:nvPr/>
            </p:nvSpPr>
            <p:spPr>
              <a:xfrm>
                <a:off x="7323577" y="2527873"/>
                <a:ext cx="1175243" cy="16158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Poppins"/>
                  </a:rPr>
                  <a:t>PER PERSON</a:t>
                </a:r>
              </a:p>
            </p:txBody>
          </p:sp>
          <p:sp>
            <p:nvSpPr>
              <p:cNvPr id="20" name="$20"/>
              <p:cNvSpPr txBox="1"/>
              <p:nvPr/>
            </p:nvSpPr>
            <p:spPr>
              <a:xfrm>
                <a:off x="7323577" y="1998573"/>
                <a:ext cx="1175243" cy="53860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500" b="1" u="none" strike="noStrike" spc="90" dirty="0">
                    <a:solidFill>
                      <a:srgbClr val="AAE6B1"/>
                    </a:solidFill>
                    <a:latin typeface="League Spartan"/>
                  </a:rPr>
                  <a:t>$20</a:t>
                </a:r>
              </a:p>
            </p:txBody>
          </p:sp>
          <p:sp>
            <p:nvSpPr>
              <p:cNvPr id="22" name="TICKET PRICE"/>
              <p:cNvSpPr txBox="1"/>
              <p:nvPr/>
            </p:nvSpPr>
            <p:spPr>
              <a:xfrm>
                <a:off x="7323577" y="1852120"/>
                <a:ext cx="1175243" cy="16158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Poppins"/>
                  </a:rPr>
                  <a:t>TICKET PRICE</a:t>
                </a:r>
              </a:p>
            </p:txBody>
          </p:sp>
          <p:sp>
            <p:nvSpPr>
              <p:cNvPr id="17" name="SIGN UP SHEET"/>
              <p:cNvSpPr txBox="1"/>
              <p:nvPr/>
            </p:nvSpPr>
            <p:spPr>
              <a:xfrm>
                <a:off x="4423134" y="393295"/>
                <a:ext cx="2022728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FFFFFF"/>
                    </a:solidFill>
                    <a:latin typeface="Poppins Light" panose="00000400000000000000" pitchFamily="2" charset="0"/>
                    <a:cs typeface="Poppins Light" panose="00000400000000000000" pitchFamily="2" charset="0"/>
                  </a:rPr>
                  <a:t>SIGN UP SHEET</a:t>
                </a:r>
              </a:p>
            </p:txBody>
          </p:sp>
          <p:sp>
            <p:nvSpPr>
              <p:cNvPr id="24" name="UNTIL 4 AM"/>
              <p:cNvSpPr txBox="1"/>
              <p:nvPr/>
            </p:nvSpPr>
            <p:spPr>
              <a:xfrm>
                <a:off x="2193181" y="2527852"/>
                <a:ext cx="1175243" cy="16158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Poppins"/>
                  </a:rPr>
                  <a:t>UNTIL 4 AM</a:t>
                </a:r>
              </a:p>
            </p:txBody>
          </p:sp>
          <p:sp>
            <p:nvSpPr>
              <p:cNvPr id="23" name="9 PM"/>
              <p:cNvSpPr txBox="1"/>
              <p:nvPr/>
            </p:nvSpPr>
            <p:spPr>
              <a:xfrm>
                <a:off x="2193181" y="1998554"/>
                <a:ext cx="1175243" cy="53860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500" b="1" spc="90" dirty="0">
                    <a:solidFill>
                      <a:srgbClr val="AAE6B1"/>
                    </a:solidFill>
                    <a:latin typeface="League Spartan"/>
                  </a:rPr>
                  <a:t>9 PM</a:t>
                </a:r>
              </a:p>
            </p:txBody>
          </p:sp>
          <p:sp>
            <p:nvSpPr>
              <p:cNvPr id="25" name="STARTS AT"/>
              <p:cNvSpPr txBox="1"/>
              <p:nvPr/>
            </p:nvSpPr>
            <p:spPr>
              <a:xfrm>
                <a:off x="2193181" y="1852127"/>
                <a:ext cx="1175243" cy="16158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Poppins"/>
                  </a:rPr>
                  <a:t>STARTS AT</a:t>
                </a:r>
              </a:p>
            </p:txBody>
          </p:sp>
        </p:grpSp>
        <p:sp>
          <p:nvSpPr>
            <p:cNvPr id="26" name="QuickSignup"/>
            <p:cNvSpPr/>
            <p:nvPr/>
          </p:nvSpPr>
          <p:spPr>
            <a:xfrm rot="5400000">
              <a:off x="9886237" y="6491471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16" name="Table - Club #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109743"/>
              </p:ext>
            </p:extLst>
          </p:nvPr>
        </p:nvGraphicFramePr>
        <p:xfrm>
          <a:off x="672171" y="2959854"/>
          <a:ext cx="9349058" cy="3928672"/>
        </p:xfrm>
        <a:graphic>
          <a:graphicData uri="http://schemas.openxmlformats.org/drawingml/2006/table">
            <a:tbl>
              <a:tblPr/>
              <a:tblGrid>
                <a:gridCol w="19720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7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96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42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755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dirty="0">
                          <a:solidFill>
                            <a:srgbClr val="373F51"/>
                          </a:solidFill>
                          <a:latin typeface="Poppins SemiBold" panose="00000700000000000000" pitchFamily="2" charset="0"/>
                          <a:cs typeface="Poppins SemiBold" panose="00000700000000000000" pitchFamily="2" charset="0"/>
                        </a:rPr>
                        <a:t>Full name</a:t>
                      </a:r>
                      <a:endParaRPr lang="en-US" sz="1100" dirty="0">
                        <a:solidFill>
                          <a:srgbClr val="373F51"/>
                        </a:solidFill>
                        <a:latin typeface="Poppins SemiBold" panose="00000700000000000000" pitchFamily="2" charset="0"/>
                        <a:cs typeface="Poppins SemiBold" panose="000007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E6B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dirty="0">
                          <a:solidFill>
                            <a:srgbClr val="373F51"/>
                          </a:solidFill>
                          <a:latin typeface="Poppins SemiBold" panose="00000700000000000000" pitchFamily="2" charset="0"/>
                          <a:cs typeface="Poppins SemiBold" panose="00000700000000000000" pitchFamily="2" charset="0"/>
                        </a:rPr>
                        <a:t>Phone</a:t>
                      </a:r>
                      <a:endParaRPr lang="en-US" sz="1100" dirty="0">
                        <a:solidFill>
                          <a:srgbClr val="373F51"/>
                        </a:solidFill>
                        <a:latin typeface="Poppins SemiBold" panose="00000700000000000000" pitchFamily="2" charset="0"/>
                        <a:cs typeface="Poppins SemiBold" panose="000007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E6B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dirty="0">
                          <a:solidFill>
                            <a:srgbClr val="373F51"/>
                          </a:solidFill>
                          <a:latin typeface="Poppins SemiBold" panose="00000700000000000000" pitchFamily="2" charset="0"/>
                          <a:cs typeface="Poppins SemiBold" panose="00000700000000000000" pitchFamily="2" charset="0"/>
                        </a:rPr>
                        <a:t>Email</a:t>
                      </a:r>
                      <a:endParaRPr lang="en-US" sz="1100" dirty="0">
                        <a:solidFill>
                          <a:srgbClr val="373F51"/>
                        </a:solidFill>
                        <a:latin typeface="Poppins SemiBold" panose="00000700000000000000" pitchFamily="2" charset="0"/>
                        <a:cs typeface="Poppins SemiBold" panose="000007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E6B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dirty="0">
                          <a:solidFill>
                            <a:srgbClr val="373F51"/>
                          </a:solidFill>
                          <a:latin typeface="Poppins SemiBold" panose="00000700000000000000" pitchFamily="2" charset="0"/>
                          <a:cs typeface="Poppins SemiBold" panose="00000700000000000000" pitchFamily="2" charset="0"/>
                        </a:rPr>
                        <a:t>Year of birth</a:t>
                      </a:r>
                      <a:endParaRPr lang="en-US" sz="1100" dirty="0">
                        <a:solidFill>
                          <a:srgbClr val="373F51"/>
                        </a:solidFill>
                        <a:latin typeface="Poppins SemiBold" panose="00000700000000000000" pitchFamily="2" charset="0"/>
                        <a:cs typeface="Poppins SemiBold" panose="000007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E6B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dirty="0">
                          <a:solidFill>
                            <a:srgbClr val="373F51"/>
                          </a:solidFill>
                          <a:latin typeface="Poppins SemiBold" panose="00000700000000000000" pitchFamily="2" charset="0"/>
                          <a:cs typeface="Poppins SemiBold" panose="00000700000000000000" pitchFamily="2" charset="0"/>
                        </a:rPr>
                        <a:t>Emergency contact number</a:t>
                      </a:r>
                      <a:endParaRPr lang="en-US" sz="1100" dirty="0">
                        <a:solidFill>
                          <a:srgbClr val="373F51"/>
                        </a:solidFill>
                        <a:latin typeface="Poppins SemiBold" panose="00000700000000000000" pitchFamily="2" charset="0"/>
                        <a:cs typeface="Poppins SemiBold" panose="000007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E6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AE6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7152"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87"/>
                        </a:lnSpc>
                        <a:defRPr/>
                      </a:pPr>
                      <a:endParaRPr lang="en-US" sz="8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38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oppins</vt:lpstr>
      <vt:lpstr>Calibri</vt:lpstr>
      <vt:lpstr>Arial</vt:lpstr>
      <vt:lpstr>Poppins Light</vt:lpstr>
      <vt:lpstr>League Spartan</vt:lpstr>
      <vt:lpstr>Poppins Semi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Landscape)</dc:title>
  <dc:creator>Hoang Anh</dc:creator>
  <cp:lastModifiedBy>Anh Hoang</cp:lastModifiedBy>
  <cp:revision>24</cp:revision>
  <dcterms:created xsi:type="dcterms:W3CDTF">2006-08-16T00:00:00Z</dcterms:created>
  <dcterms:modified xsi:type="dcterms:W3CDTF">2024-06-27T08:05:38Z</dcterms:modified>
  <dc:identifier>DAGJShqUsXk</dc:identifier>
</cp:coreProperties>
</file>